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3095625" cy="1260475"/>
  <p:notesSz cx="7102475" cy="10233025"/>
  <p:custDataLst>
    <p:tags r:id="rId3"/>
  </p:custDataLst>
  <p:defaultTextStyle>
    <a:defPPr>
      <a:defRPr lang="de-DE"/>
    </a:defPPr>
    <a:lvl1pPr marL="0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1pPr>
    <a:lvl2pPr marL="129395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2pPr>
    <a:lvl3pPr marL="258788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3pPr>
    <a:lvl4pPr marL="388183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4pPr>
    <a:lvl5pPr marL="517578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5pPr>
    <a:lvl6pPr marL="646972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6pPr>
    <a:lvl7pPr marL="776367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7pPr>
    <a:lvl8pPr marL="905760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8pPr>
    <a:lvl9pPr marL="1035155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8" userDrawn="1">
          <p15:clr>
            <a:srgbClr val="A4A3A4"/>
          </p15:clr>
        </p15:guide>
        <p15:guide id="2" pos="97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438" autoAdjust="0"/>
    <p:restoredTop sz="94660"/>
  </p:normalViewPr>
  <p:slideViewPr>
    <p:cSldViewPr>
      <p:cViewPr>
        <p:scale>
          <a:sx n="400" d="100"/>
          <a:sy n="400" d="100"/>
        </p:scale>
        <p:origin x="288" y="864"/>
      </p:cViewPr>
      <p:guideLst>
        <p:guide orient="horz" pos="398"/>
        <p:guide pos="976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32172" y="391564"/>
            <a:ext cx="2631282" cy="270186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64345" y="714270"/>
            <a:ext cx="2166937" cy="32212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163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327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49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654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818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98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14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308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6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6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2244331" y="50477"/>
            <a:ext cx="696516" cy="1075489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154781" y="50477"/>
            <a:ext cx="2037954" cy="1075489"/>
          </a:xfrm>
        </p:spPr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6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6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44533" y="809972"/>
            <a:ext cx="2631282" cy="250344"/>
          </a:xfrm>
        </p:spPr>
        <p:txBody>
          <a:bodyPr anchor="t"/>
          <a:lstStyle>
            <a:lvl1pPr algn="l">
              <a:defRPr sz="4518" b="1" cap="all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44533" y="534244"/>
            <a:ext cx="2631282" cy="275729"/>
          </a:xfrm>
        </p:spPr>
        <p:txBody>
          <a:bodyPr anchor="b"/>
          <a:lstStyle>
            <a:lvl1pPr marL="0" indent="0">
              <a:buNone/>
              <a:defRPr sz="2259">
                <a:solidFill>
                  <a:schemeClr val="tx1">
                    <a:tint val="75000"/>
                  </a:schemeClr>
                </a:solidFill>
              </a:defRPr>
            </a:lvl1pPr>
            <a:lvl2pPr marL="516362" indent="0">
              <a:buNone/>
              <a:defRPr sz="2033">
                <a:solidFill>
                  <a:schemeClr val="tx1">
                    <a:tint val="75000"/>
                  </a:schemeClr>
                </a:solidFill>
              </a:defRPr>
            </a:lvl2pPr>
            <a:lvl3pPr marL="1032723" indent="0">
              <a:buNone/>
              <a:defRPr sz="1807">
                <a:solidFill>
                  <a:schemeClr val="tx1">
                    <a:tint val="75000"/>
                  </a:schemeClr>
                </a:solidFill>
              </a:defRPr>
            </a:lvl3pPr>
            <a:lvl4pPr marL="1549085" indent="0">
              <a:buNone/>
              <a:defRPr sz="1581">
                <a:solidFill>
                  <a:schemeClr val="tx1">
                    <a:tint val="75000"/>
                  </a:schemeClr>
                </a:solidFill>
              </a:defRPr>
            </a:lvl4pPr>
            <a:lvl5pPr marL="2065447" indent="0">
              <a:buNone/>
              <a:defRPr sz="1581">
                <a:solidFill>
                  <a:schemeClr val="tx1">
                    <a:tint val="75000"/>
                  </a:schemeClr>
                </a:solidFill>
              </a:defRPr>
            </a:lvl5pPr>
            <a:lvl6pPr marL="2581808" indent="0">
              <a:buNone/>
              <a:defRPr sz="1581">
                <a:solidFill>
                  <a:schemeClr val="tx1">
                    <a:tint val="75000"/>
                  </a:schemeClr>
                </a:solidFill>
              </a:defRPr>
            </a:lvl6pPr>
            <a:lvl7pPr marL="3098170" indent="0">
              <a:buNone/>
              <a:defRPr sz="1581">
                <a:solidFill>
                  <a:schemeClr val="tx1">
                    <a:tint val="75000"/>
                  </a:schemeClr>
                </a:solidFill>
              </a:defRPr>
            </a:lvl7pPr>
            <a:lvl8pPr marL="3614532" indent="0">
              <a:buNone/>
              <a:defRPr sz="1581">
                <a:solidFill>
                  <a:schemeClr val="tx1">
                    <a:tint val="75000"/>
                  </a:schemeClr>
                </a:solidFill>
              </a:defRPr>
            </a:lvl8pPr>
            <a:lvl9pPr marL="4130893" indent="0">
              <a:buNone/>
              <a:defRPr sz="158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6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54784" y="294113"/>
            <a:ext cx="1367235" cy="831855"/>
          </a:xfrm>
        </p:spPr>
        <p:txBody>
          <a:bodyPr/>
          <a:lstStyle>
            <a:lvl1pPr>
              <a:defRPr sz="3162"/>
            </a:lvl1pPr>
            <a:lvl2pPr>
              <a:defRPr sz="2711"/>
            </a:lvl2pPr>
            <a:lvl3pPr>
              <a:defRPr sz="2259"/>
            </a:lvl3pPr>
            <a:lvl4pPr>
              <a:defRPr sz="2033"/>
            </a:lvl4pPr>
            <a:lvl5pPr>
              <a:defRPr sz="2033"/>
            </a:lvl5pPr>
            <a:lvl6pPr>
              <a:defRPr sz="2033"/>
            </a:lvl6pPr>
            <a:lvl7pPr>
              <a:defRPr sz="2033"/>
            </a:lvl7pPr>
            <a:lvl8pPr>
              <a:defRPr sz="2033"/>
            </a:lvl8pPr>
            <a:lvl9pPr>
              <a:defRPr sz="2033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573611" y="294113"/>
            <a:ext cx="1367235" cy="831855"/>
          </a:xfrm>
        </p:spPr>
        <p:txBody>
          <a:bodyPr/>
          <a:lstStyle>
            <a:lvl1pPr>
              <a:defRPr sz="3162"/>
            </a:lvl1pPr>
            <a:lvl2pPr>
              <a:defRPr sz="2711"/>
            </a:lvl2pPr>
            <a:lvl3pPr>
              <a:defRPr sz="2259"/>
            </a:lvl3pPr>
            <a:lvl4pPr>
              <a:defRPr sz="2033"/>
            </a:lvl4pPr>
            <a:lvl5pPr>
              <a:defRPr sz="2033"/>
            </a:lvl5pPr>
            <a:lvl6pPr>
              <a:defRPr sz="2033"/>
            </a:lvl6pPr>
            <a:lvl7pPr>
              <a:defRPr sz="2033"/>
            </a:lvl7pPr>
            <a:lvl8pPr>
              <a:defRPr sz="2033"/>
            </a:lvl8pPr>
            <a:lvl9pPr>
              <a:defRPr sz="2033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6.02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54781" y="282148"/>
            <a:ext cx="1367772" cy="117586"/>
          </a:xfrm>
        </p:spPr>
        <p:txBody>
          <a:bodyPr anchor="b"/>
          <a:lstStyle>
            <a:lvl1pPr marL="0" indent="0">
              <a:buNone/>
              <a:defRPr sz="2711" b="1"/>
            </a:lvl1pPr>
            <a:lvl2pPr marL="516362" indent="0">
              <a:buNone/>
              <a:defRPr sz="2259" b="1"/>
            </a:lvl2pPr>
            <a:lvl3pPr marL="1032723" indent="0">
              <a:buNone/>
              <a:defRPr sz="2033" b="1"/>
            </a:lvl3pPr>
            <a:lvl4pPr marL="1549085" indent="0">
              <a:buNone/>
              <a:defRPr sz="1807" b="1"/>
            </a:lvl4pPr>
            <a:lvl5pPr marL="2065447" indent="0">
              <a:buNone/>
              <a:defRPr sz="1807" b="1"/>
            </a:lvl5pPr>
            <a:lvl6pPr marL="2581808" indent="0">
              <a:buNone/>
              <a:defRPr sz="1807" b="1"/>
            </a:lvl6pPr>
            <a:lvl7pPr marL="3098170" indent="0">
              <a:buNone/>
              <a:defRPr sz="1807" b="1"/>
            </a:lvl7pPr>
            <a:lvl8pPr marL="3614532" indent="0">
              <a:buNone/>
              <a:defRPr sz="1807" b="1"/>
            </a:lvl8pPr>
            <a:lvl9pPr marL="4130893" indent="0">
              <a:buNone/>
              <a:defRPr sz="1807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54781" y="399735"/>
            <a:ext cx="1367772" cy="726232"/>
          </a:xfrm>
        </p:spPr>
        <p:txBody>
          <a:bodyPr/>
          <a:lstStyle>
            <a:lvl1pPr>
              <a:defRPr sz="2711"/>
            </a:lvl1pPr>
            <a:lvl2pPr>
              <a:defRPr sz="2259"/>
            </a:lvl2pPr>
            <a:lvl3pPr>
              <a:defRPr sz="2033"/>
            </a:lvl3pPr>
            <a:lvl4pPr>
              <a:defRPr sz="1807"/>
            </a:lvl4pPr>
            <a:lvl5pPr>
              <a:defRPr sz="1807"/>
            </a:lvl5pPr>
            <a:lvl6pPr>
              <a:defRPr sz="1807"/>
            </a:lvl6pPr>
            <a:lvl7pPr>
              <a:defRPr sz="1807"/>
            </a:lvl7pPr>
            <a:lvl8pPr>
              <a:defRPr sz="1807"/>
            </a:lvl8pPr>
            <a:lvl9pPr>
              <a:defRPr sz="1807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1572538" y="282148"/>
            <a:ext cx="1368309" cy="117586"/>
          </a:xfrm>
        </p:spPr>
        <p:txBody>
          <a:bodyPr anchor="b"/>
          <a:lstStyle>
            <a:lvl1pPr marL="0" indent="0">
              <a:buNone/>
              <a:defRPr sz="2711" b="1"/>
            </a:lvl1pPr>
            <a:lvl2pPr marL="516362" indent="0">
              <a:buNone/>
              <a:defRPr sz="2259" b="1"/>
            </a:lvl2pPr>
            <a:lvl3pPr marL="1032723" indent="0">
              <a:buNone/>
              <a:defRPr sz="2033" b="1"/>
            </a:lvl3pPr>
            <a:lvl4pPr marL="1549085" indent="0">
              <a:buNone/>
              <a:defRPr sz="1807" b="1"/>
            </a:lvl4pPr>
            <a:lvl5pPr marL="2065447" indent="0">
              <a:buNone/>
              <a:defRPr sz="1807" b="1"/>
            </a:lvl5pPr>
            <a:lvl6pPr marL="2581808" indent="0">
              <a:buNone/>
              <a:defRPr sz="1807" b="1"/>
            </a:lvl6pPr>
            <a:lvl7pPr marL="3098170" indent="0">
              <a:buNone/>
              <a:defRPr sz="1807" b="1"/>
            </a:lvl7pPr>
            <a:lvl8pPr marL="3614532" indent="0">
              <a:buNone/>
              <a:defRPr sz="1807" b="1"/>
            </a:lvl8pPr>
            <a:lvl9pPr marL="4130893" indent="0">
              <a:buNone/>
              <a:defRPr sz="1807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1572538" y="399735"/>
            <a:ext cx="1368309" cy="726232"/>
          </a:xfrm>
        </p:spPr>
        <p:txBody>
          <a:bodyPr/>
          <a:lstStyle>
            <a:lvl1pPr>
              <a:defRPr sz="2711"/>
            </a:lvl1pPr>
            <a:lvl2pPr>
              <a:defRPr sz="2259"/>
            </a:lvl2pPr>
            <a:lvl3pPr>
              <a:defRPr sz="2033"/>
            </a:lvl3pPr>
            <a:lvl4pPr>
              <a:defRPr sz="1807"/>
            </a:lvl4pPr>
            <a:lvl5pPr>
              <a:defRPr sz="1807"/>
            </a:lvl5pPr>
            <a:lvl6pPr>
              <a:defRPr sz="1807"/>
            </a:lvl6pPr>
            <a:lvl7pPr>
              <a:defRPr sz="1807"/>
            </a:lvl7pPr>
            <a:lvl8pPr>
              <a:defRPr sz="1807"/>
            </a:lvl8pPr>
            <a:lvl9pPr>
              <a:defRPr sz="1807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6.02.2020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6.02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6.02.2020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4784" y="50187"/>
            <a:ext cx="1018439" cy="213580"/>
          </a:xfrm>
        </p:spPr>
        <p:txBody>
          <a:bodyPr anchor="b"/>
          <a:lstStyle>
            <a:lvl1pPr algn="l">
              <a:defRPr sz="2259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210304" y="50186"/>
            <a:ext cx="1730540" cy="1075780"/>
          </a:xfrm>
        </p:spPr>
        <p:txBody>
          <a:bodyPr/>
          <a:lstStyle>
            <a:lvl1pPr>
              <a:defRPr sz="3614"/>
            </a:lvl1pPr>
            <a:lvl2pPr>
              <a:defRPr sz="3162"/>
            </a:lvl2pPr>
            <a:lvl3pPr>
              <a:defRPr sz="2711"/>
            </a:lvl3pPr>
            <a:lvl4pPr>
              <a:defRPr sz="2259"/>
            </a:lvl4pPr>
            <a:lvl5pPr>
              <a:defRPr sz="2259"/>
            </a:lvl5pPr>
            <a:lvl6pPr>
              <a:defRPr sz="2259"/>
            </a:lvl6pPr>
            <a:lvl7pPr>
              <a:defRPr sz="2259"/>
            </a:lvl7pPr>
            <a:lvl8pPr>
              <a:defRPr sz="2259"/>
            </a:lvl8pPr>
            <a:lvl9pPr>
              <a:defRPr sz="2259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54784" y="263767"/>
            <a:ext cx="1018439" cy="862200"/>
          </a:xfrm>
        </p:spPr>
        <p:txBody>
          <a:bodyPr/>
          <a:lstStyle>
            <a:lvl1pPr marL="0" indent="0">
              <a:buNone/>
              <a:defRPr sz="1581"/>
            </a:lvl1pPr>
            <a:lvl2pPr marL="516362" indent="0">
              <a:buNone/>
              <a:defRPr sz="1355"/>
            </a:lvl2pPr>
            <a:lvl3pPr marL="1032723" indent="0">
              <a:buNone/>
              <a:defRPr sz="1129"/>
            </a:lvl3pPr>
            <a:lvl4pPr marL="1549085" indent="0">
              <a:buNone/>
              <a:defRPr sz="1016"/>
            </a:lvl4pPr>
            <a:lvl5pPr marL="2065447" indent="0">
              <a:buNone/>
              <a:defRPr sz="1016"/>
            </a:lvl5pPr>
            <a:lvl6pPr marL="2581808" indent="0">
              <a:buNone/>
              <a:defRPr sz="1016"/>
            </a:lvl6pPr>
            <a:lvl7pPr marL="3098170" indent="0">
              <a:buNone/>
              <a:defRPr sz="1016"/>
            </a:lvl7pPr>
            <a:lvl8pPr marL="3614532" indent="0">
              <a:buNone/>
              <a:defRPr sz="1016"/>
            </a:lvl8pPr>
            <a:lvl9pPr marL="4130893" indent="0">
              <a:buNone/>
              <a:defRPr sz="1016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6.02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6765" y="882334"/>
            <a:ext cx="1857375" cy="104164"/>
          </a:xfrm>
        </p:spPr>
        <p:txBody>
          <a:bodyPr anchor="b"/>
          <a:lstStyle>
            <a:lvl1pPr algn="l">
              <a:defRPr sz="2259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606765" y="112627"/>
            <a:ext cx="1857375" cy="756285"/>
          </a:xfrm>
        </p:spPr>
        <p:txBody>
          <a:bodyPr/>
          <a:lstStyle>
            <a:lvl1pPr marL="0" indent="0">
              <a:buNone/>
              <a:defRPr sz="3614"/>
            </a:lvl1pPr>
            <a:lvl2pPr marL="516362" indent="0">
              <a:buNone/>
              <a:defRPr sz="3162"/>
            </a:lvl2pPr>
            <a:lvl3pPr marL="1032723" indent="0">
              <a:buNone/>
              <a:defRPr sz="2711"/>
            </a:lvl3pPr>
            <a:lvl4pPr marL="1549085" indent="0">
              <a:buNone/>
              <a:defRPr sz="2259"/>
            </a:lvl4pPr>
            <a:lvl5pPr marL="2065447" indent="0">
              <a:buNone/>
              <a:defRPr sz="2259"/>
            </a:lvl5pPr>
            <a:lvl6pPr marL="2581808" indent="0">
              <a:buNone/>
              <a:defRPr sz="2259"/>
            </a:lvl6pPr>
            <a:lvl7pPr marL="3098170" indent="0">
              <a:buNone/>
              <a:defRPr sz="2259"/>
            </a:lvl7pPr>
            <a:lvl8pPr marL="3614532" indent="0">
              <a:buNone/>
              <a:defRPr sz="2259"/>
            </a:lvl8pPr>
            <a:lvl9pPr marL="4130893" indent="0">
              <a:buNone/>
              <a:defRPr sz="2259"/>
            </a:lvl9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6765" y="986497"/>
            <a:ext cx="1857375" cy="147931"/>
          </a:xfrm>
        </p:spPr>
        <p:txBody>
          <a:bodyPr/>
          <a:lstStyle>
            <a:lvl1pPr marL="0" indent="0">
              <a:buNone/>
              <a:defRPr sz="1581"/>
            </a:lvl1pPr>
            <a:lvl2pPr marL="516362" indent="0">
              <a:buNone/>
              <a:defRPr sz="1355"/>
            </a:lvl2pPr>
            <a:lvl3pPr marL="1032723" indent="0">
              <a:buNone/>
              <a:defRPr sz="1129"/>
            </a:lvl3pPr>
            <a:lvl4pPr marL="1549085" indent="0">
              <a:buNone/>
              <a:defRPr sz="1016"/>
            </a:lvl4pPr>
            <a:lvl5pPr marL="2065447" indent="0">
              <a:buNone/>
              <a:defRPr sz="1016"/>
            </a:lvl5pPr>
            <a:lvl6pPr marL="2581808" indent="0">
              <a:buNone/>
              <a:defRPr sz="1016"/>
            </a:lvl6pPr>
            <a:lvl7pPr marL="3098170" indent="0">
              <a:buNone/>
              <a:defRPr sz="1016"/>
            </a:lvl7pPr>
            <a:lvl8pPr marL="3614532" indent="0">
              <a:buNone/>
              <a:defRPr sz="1016"/>
            </a:lvl8pPr>
            <a:lvl9pPr marL="4130893" indent="0">
              <a:buNone/>
              <a:defRPr sz="1016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6.02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31278781"/>
              </p:ext>
            </p:extLst>
          </p:nvPr>
        </p:nvGraphicFramePr>
        <p:xfrm>
          <a:off x="537" y="293"/>
          <a:ext cx="538" cy="2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think-cell Folie" r:id="rId16" imgW="384" imgH="384" progId="TCLayout.ActiveDocument.1">
                  <p:embed/>
                </p:oleObj>
              </mc:Choice>
              <mc:Fallback>
                <p:oleObj name="think-cell Folie" r:id="rId16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537" y="293"/>
                        <a:ext cx="538" cy="2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15"/>
            </p:custDataLst>
          </p:nvPr>
        </p:nvSpPr>
        <p:spPr>
          <a:xfrm>
            <a:off x="3" y="0"/>
            <a:ext cx="53744" cy="2917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e-DE" sz="4969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54782" y="50479"/>
            <a:ext cx="2786063" cy="2100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54782" y="294113"/>
            <a:ext cx="2786063" cy="8318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54784" y="1168274"/>
            <a:ext cx="722312" cy="671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5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EF7ADF-C373-4E12-BA8C-AAEE52A088DE}" type="datetimeFigureOut">
              <a:rPr lang="de-DE" smtClean="0"/>
              <a:pPr/>
              <a:t>06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057673" y="1168274"/>
            <a:ext cx="980281" cy="671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5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218535" y="1168274"/>
            <a:ext cx="722312" cy="671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5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1032723" rtl="0" eaLnBrk="1" latinLnBrk="0" hangingPunct="1">
        <a:spcBef>
          <a:spcPct val="0"/>
        </a:spcBef>
        <a:buNone/>
        <a:defRPr sz="4969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7271" indent="-387271" algn="l" defTabSz="1032723" rtl="0" eaLnBrk="1" latinLnBrk="0" hangingPunct="1">
        <a:spcBef>
          <a:spcPct val="20000"/>
        </a:spcBef>
        <a:buFont typeface="Arial" pitchFamily="34" charset="0"/>
        <a:buChar char="•"/>
        <a:defRPr sz="3614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839088" indent="-322726" algn="l" defTabSz="1032723" rtl="0" eaLnBrk="1" latinLnBrk="0" hangingPunct="1">
        <a:spcBef>
          <a:spcPct val="20000"/>
        </a:spcBef>
        <a:buFont typeface="Arial" pitchFamily="34" charset="0"/>
        <a:buChar char="–"/>
        <a:defRPr sz="3162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290904" indent="-258181" algn="l" defTabSz="1032723" rtl="0" eaLnBrk="1" latinLnBrk="0" hangingPunct="1">
        <a:spcBef>
          <a:spcPct val="20000"/>
        </a:spcBef>
        <a:buFont typeface="Arial" pitchFamily="34" charset="0"/>
        <a:buChar char="•"/>
        <a:defRPr sz="271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807266" indent="-258181" algn="l" defTabSz="1032723" rtl="0" eaLnBrk="1" latinLnBrk="0" hangingPunct="1">
        <a:spcBef>
          <a:spcPct val="20000"/>
        </a:spcBef>
        <a:buFont typeface="Arial" pitchFamily="34" charset="0"/>
        <a:buChar char="–"/>
        <a:defRPr sz="2259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323628" indent="-258181" algn="l" defTabSz="1032723" rtl="0" eaLnBrk="1" latinLnBrk="0" hangingPunct="1">
        <a:spcBef>
          <a:spcPct val="20000"/>
        </a:spcBef>
        <a:buFont typeface="Arial" pitchFamily="34" charset="0"/>
        <a:buChar char="»"/>
        <a:defRPr sz="2259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839989" indent="-258181" algn="l" defTabSz="1032723" rtl="0" eaLnBrk="1" latinLnBrk="0" hangingPunct="1">
        <a:spcBef>
          <a:spcPct val="20000"/>
        </a:spcBef>
        <a:buFont typeface="Arial" pitchFamily="34" charset="0"/>
        <a:buChar char="•"/>
        <a:defRPr sz="2259" kern="1200">
          <a:solidFill>
            <a:schemeClr val="tx1"/>
          </a:solidFill>
          <a:latin typeface="+mn-lt"/>
          <a:ea typeface="+mn-ea"/>
          <a:cs typeface="+mn-cs"/>
        </a:defRPr>
      </a:lvl6pPr>
      <a:lvl7pPr marL="3356351" indent="-258181" algn="l" defTabSz="1032723" rtl="0" eaLnBrk="1" latinLnBrk="0" hangingPunct="1">
        <a:spcBef>
          <a:spcPct val="20000"/>
        </a:spcBef>
        <a:buFont typeface="Arial" pitchFamily="34" charset="0"/>
        <a:buChar char="•"/>
        <a:defRPr sz="2259" kern="1200">
          <a:solidFill>
            <a:schemeClr val="tx1"/>
          </a:solidFill>
          <a:latin typeface="+mn-lt"/>
          <a:ea typeface="+mn-ea"/>
          <a:cs typeface="+mn-cs"/>
        </a:defRPr>
      </a:lvl7pPr>
      <a:lvl8pPr marL="3872713" indent="-258181" algn="l" defTabSz="1032723" rtl="0" eaLnBrk="1" latinLnBrk="0" hangingPunct="1">
        <a:spcBef>
          <a:spcPct val="20000"/>
        </a:spcBef>
        <a:buFont typeface="Arial" pitchFamily="34" charset="0"/>
        <a:buChar char="•"/>
        <a:defRPr sz="2259" kern="1200">
          <a:solidFill>
            <a:schemeClr val="tx1"/>
          </a:solidFill>
          <a:latin typeface="+mn-lt"/>
          <a:ea typeface="+mn-ea"/>
          <a:cs typeface="+mn-cs"/>
        </a:defRPr>
      </a:lvl8pPr>
      <a:lvl9pPr marL="4389074" indent="-258181" algn="l" defTabSz="1032723" rtl="0" eaLnBrk="1" latinLnBrk="0" hangingPunct="1">
        <a:spcBef>
          <a:spcPct val="20000"/>
        </a:spcBef>
        <a:buFont typeface="Arial" pitchFamily="34" charset="0"/>
        <a:buChar char="•"/>
        <a:defRPr sz="225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3272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1pPr>
      <a:lvl2pPr marL="516362" algn="l" defTabSz="103272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2pPr>
      <a:lvl3pPr marL="1032723" algn="l" defTabSz="103272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3pPr>
      <a:lvl4pPr marL="1549085" algn="l" defTabSz="103272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4pPr>
      <a:lvl5pPr marL="2065447" algn="l" defTabSz="103272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5pPr>
      <a:lvl6pPr marL="2581808" algn="l" defTabSz="103272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6pPr>
      <a:lvl7pPr marL="3098170" algn="l" defTabSz="103272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7pPr>
      <a:lvl8pPr marL="3614532" algn="l" defTabSz="103272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8pPr>
      <a:lvl9pPr marL="4130893" algn="l" defTabSz="103272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microsoft.com/office/2007/relationships/hdphoto" Target="../media/hdphoto1.wdp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7881198"/>
              </p:ext>
            </p:extLst>
          </p:nvPr>
        </p:nvGraphicFramePr>
        <p:xfrm>
          <a:off x="-3739290" y="-3159256"/>
          <a:ext cx="1794" cy="1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" name="think-cell Folie" r:id="rId4" imgW="384" imgH="384" progId="TCLayout.ActiveDocument.1">
                  <p:embed/>
                </p:oleObj>
              </mc:Choice>
              <mc:Fallback>
                <p:oleObj name="think-cell Foli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3739290" y="-3159256"/>
                        <a:ext cx="1794" cy="1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3" name="Gerader Verbinder 22"/>
          <p:cNvCxnSpPr/>
          <p:nvPr/>
        </p:nvCxnSpPr>
        <p:spPr>
          <a:xfrm flipV="1">
            <a:off x="593644" y="135213"/>
            <a:ext cx="0" cy="990048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" name="Gerader Verbinder 3"/>
          <p:cNvCxnSpPr/>
          <p:nvPr/>
        </p:nvCxnSpPr>
        <p:spPr>
          <a:xfrm flipV="1">
            <a:off x="35644" y="630237"/>
            <a:ext cx="1116000" cy="0"/>
          </a:xfrm>
          <a:prstGeom prst="line">
            <a:avLst/>
          </a:prstGeom>
          <a:ln w="31750" cmpd="dbl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Ellipse 7"/>
          <p:cNvSpPr>
            <a:spLocks noChangeAspect="1"/>
          </p:cNvSpPr>
          <p:nvPr/>
        </p:nvSpPr>
        <p:spPr>
          <a:xfrm>
            <a:off x="572044" y="608637"/>
            <a:ext cx="43200" cy="432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2622" b="99750" l="623" r="96125">
                        <a14:foregroundMark x1="13080" y1="45818" x2="24429" y2="45194"/>
                        <a14:foregroundMark x1="1730" y1="47690" x2="13218" y2="46192"/>
                        <a14:foregroundMark x1="24983" y1="45568" x2="38062" y2="45818"/>
                        <a14:foregroundMark x1="42491" y1="37828" x2="38201" y2="45943"/>
                        <a14:foregroundMark x1="48581" y1="37203" x2="47958" y2="2622"/>
                        <a14:foregroundMark x1="48720" y1="37453" x2="51280" y2="44070"/>
                        <a14:foregroundMark x1="52042" y1="44444" x2="61315" y2="45818"/>
                        <a14:foregroundMark x1="61384" y1="45194" x2="75433" y2="45568"/>
                        <a14:foregroundMark x1="75986" y1="45943" x2="96125" y2="48065"/>
                        <a14:foregroundMark x1="48512" y1="70537" x2="48374" y2="99750"/>
                        <a14:foregroundMark x1="51488" y1="63296" x2="48581" y2="68539"/>
                        <a14:foregroundMark x1="48997" y1="69788" x2="48997" y2="68914"/>
                      </a14:backgroundRemoval>
                    </a14:imgEffect>
                  </a14:imgLayer>
                </a14:imgProps>
              </a:ext>
            </a:extLst>
          </a:blip>
          <a:srcRect r="9445"/>
          <a:stretch/>
        </p:blipFill>
        <p:spPr>
          <a:xfrm>
            <a:off x="1331788" y="79686"/>
            <a:ext cx="1728191" cy="105790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MANKy4CRjkggxgH1yQ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0</Words>
  <Application>Microsoft Office PowerPoint</Application>
  <PresentationFormat>Benutzerdefiniert</PresentationFormat>
  <Paragraphs>0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4" baseType="lpstr">
      <vt:lpstr>Arial</vt:lpstr>
      <vt:lpstr>blank</vt:lpstr>
      <vt:lpstr>think-cell Folie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aniel Becker</dc:creator>
  <cp:lastModifiedBy>Daniel Becker</cp:lastModifiedBy>
  <cp:revision>20</cp:revision>
  <cp:lastPrinted>2020-02-06T09:58:55Z</cp:lastPrinted>
  <dcterms:created xsi:type="dcterms:W3CDTF">2020-02-06T09:29:41Z</dcterms:created>
  <dcterms:modified xsi:type="dcterms:W3CDTF">2020-02-06T13:52:01Z</dcterms:modified>
</cp:coreProperties>
</file>